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879999"/>
            <a:ext cx="72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613999" y="2879999"/>
            <a:ext cx="144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2014000" y="2879999"/>
            <a:ext cx="21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